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62" r:id="rId2"/>
    <p:sldId id="317" r:id="rId3"/>
    <p:sldId id="325" r:id="rId4"/>
    <p:sldId id="326" r:id="rId5"/>
    <p:sldId id="328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40" r:id="rId18"/>
    <p:sldId id="341" r:id="rId19"/>
    <p:sldId id="342" r:id="rId20"/>
    <p:sldId id="343" r:id="rId21"/>
    <p:sldId id="344" r:id="rId22"/>
    <p:sldId id="345" r:id="rId23"/>
    <p:sldId id="346" r:id="rId24"/>
    <p:sldId id="347" r:id="rId25"/>
    <p:sldId id="353" r:id="rId26"/>
    <p:sldId id="350" r:id="rId27"/>
    <p:sldId id="349" r:id="rId28"/>
    <p:sldId id="351" r:id="rId29"/>
  </p:sldIdLst>
  <p:sldSz cx="9144000" cy="6858000" type="screen4x3"/>
  <p:notesSz cx="6735763" cy="9866313"/>
  <p:custDataLst>
    <p:tags r:id="rId32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521415D9-36F7-43E2-AB2F-B90AF26B5E84}">
      <p14:sectionLst xmlns:p14="http://schemas.microsoft.com/office/powerpoint/2010/main">
        <p14:section name="Section sans titre" id="{5B55A162-B735-4696-A933-C2866E703968}">
          <p14:sldIdLst>
            <p14:sldId id="262"/>
            <p14:sldId id="317"/>
            <p14:sldId id="325"/>
            <p14:sldId id="326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53"/>
            <p14:sldId id="350"/>
            <p14:sldId id="349"/>
            <p14:sldId id="3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96FE18-9E89-80CC-2314-256641B2ED92}" name="Page Didier" initials="DP" userId="S::Didier.Page@fr.ch::e386eb36-ba61-4daf-a15a-75b629ada320" providerId="AD"/>
  <p188:author id="{D065B96D-6B4D-7703-F9E2-F94D4A973AE2}" name="Lanini Anastasia" initials="AL" userId="S::Anastasia.Lanini@fr.ch::682235ed-c05d-48c2-a600-227d858b8136" providerId="AD"/>
  <p188:author id="{5D7FA77A-EE23-C72D-0F48-BFB94983363E}" name="Wyss Lisa" initials="LW" userId="S::Lisa.Wyss@fr.ch::af5dc879-8723-406d-956e-6d899580927a" providerId="AD"/>
  <p188:author id="{5C05D195-49E7-3414-4857-EDBCAE690ACE}" name="Giuseppina Greco" initials="GG" userId="S::Giuseppina.Greco@cpi-formations.ch::472132b4-5ed0-4444-a325-7607580159d4" providerId="AD"/>
  <p188:author id="{A84365C6-BF44-A66E-755E-5AD4956C7CA1}" name="Fellay Nicolas" initials="NF" userId="S::Nicolas.Fellay@fr.ch::27d3bf98-5e9b-4acf-83c6-438890d6f335" providerId="AD"/>
  <p188:author id="{CD5233E4-FF98-5A6B-95E5-199E7CB25E92}" name="Jordan Samuel" initials="SJ" userId="S::Samuel.Jordan@fr.ch::f35b3466-1673-4111-98ad-870b1543fe9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74F4"/>
    <a:srgbClr val="AED1FC"/>
    <a:srgbClr val="002C77"/>
    <a:srgbClr val="333333"/>
    <a:srgbClr val="00A0DB"/>
    <a:srgbClr val="BFDBFD"/>
    <a:srgbClr val="A3CBFB"/>
    <a:srgbClr val="889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3447" autoAdjust="0"/>
  </p:normalViewPr>
  <p:slideViewPr>
    <p:cSldViewPr snapToObjects="1">
      <p:cViewPr varScale="1">
        <p:scale>
          <a:sx n="103" d="100"/>
          <a:sy n="103" d="100"/>
        </p:scale>
        <p:origin x="1134" y="114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1" d="100"/>
          <a:sy n="81" d="100"/>
        </p:scale>
        <p:origin x="3894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2ECF10EC-F76A-4FD9-96A5-7A8B5830032B}" type="datetimeFigureOut">
              <a:rPr lang="fr-CH"/>
              <a:pPr>
                <a:defRPr/>
              </a:pPr>
              <a:t>26.09.2025</a:t>
            </a:fld>
            <a:endParaRPr lang="fr-CH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1F39181-1FE6-44B5-9125-35E215544325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68580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A79EA7A6-82F9-47B8-A281-8FD5294063B5}" type="datetime1">
              <a:rPr lang="fr-CH"/>
              <a:pPr>
                <a:defRPr/>
              </a:pPr>
              <a:t>26.09.2025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EDFEE1FA-620A-43C2-8954-B542F7BD1B0C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7870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06106D7-EF37-4DC8-9F48-3A3ADB754E32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 dirty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12855-837A-E7AF-0465-FF10E8874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Folienbildplatzhalter 1">
            <a:extLst>
              <a:ext uri="{FF2B5EF4-FFF2-40B4-BE49-F238E27FC236}">
                <a16:creationId xmlns:a16="http://schemas.microsoft.com/office/drawing/2014/main" id="{707A8CD7-6D00-CEA7-682A-F922BD20727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Notizenplatzhalter 2">
            <a:extLst>
              <a:ext uri="{FF2B5EF4-FFF2-40B4-BE49-F238E27FC236}">
                <a16:creationId xmlns:a16="http://schemas.microsoft.com/office/drawing/2014/main" id="{4A87E9F5-1D56-743B-F9B6-B42845C216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dirty="0">
              <a:ea typeface="ＭＳ Ｐゴシック"/>
              <a:cs typeface="ＭＳ Ｐゴシック"/>
            </a:endParaRPr>
          </a:p>
        </p:txBody>
      </p:sp>
      <p:sp>
        <p:nvSpPr>
          <p:cNvPr id="75780" name="Foliennummernplatzhalter 3">
            <a:extLst>
              <a:ext uri="{FF2B5EF4-FFF2-40B4-BE49-F238E27FC236}">
                <a16:creationId xmlns:a16="http://schemas.microsoft.com/office/drawing/2014/main" id="{D1FED58E-1688-06B6-932C-A4F182AC9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0D71051-CBF6-456E-95F6-EE2C747CF9A3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16150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5.xml"/><Relationship Id="rId7" Type="http://schemas.openxmlformats.org/officeDocument/2006/relationships/image" Target="../media/image1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9.xml"/><Relationship Id="rId7" Type="http://schemas.openxmlformats.org/officeDocument/2006/relationships/image" Target="../media/image1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43.xml"/><Relationship Id="rId7" Type="http://schemas.openxmlformats.org/officeDocument/2006/relationships/image" Target="../media/image1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47.xml"/><Relationship Id="rId7" Type="http://schemas.openxmlformats.org/officeDocument/2006/relationships/image" Target="../media/image1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51.xml"/><Relationship Id="rId7" Type="http://schemas.openxmlformats.org/officeDocument/2006/relationships/image" Target="../media/image1.jpe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55.xml"/><Relationship Id="rId7" Type="http://schemas.openxmlformats.org/officeDocument/2006/relationships/image" Target="../media/image1.jpe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59.xml"/><Relationship Id="rId7" Type="http://schemas.openxmlformats.org/officeDocument/2006/relationships/image" Target="../media/image1.jpe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63.xml"/><Relationship Id="rId7" Type="http://schemas.openxmlformats.org/officeDocument/2006/relationships/image" Target="../media/image1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image" Target="../media/image1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oleObject" Target="../embeddings/oleObject5.bin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oleObject" Target="../embeddings/oleObject7.bin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oleObject" Target="../embeddings/oleObject8.bin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9.bin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3.xml"/><Relationship Id="rId7" Type="http://schemas.openxmlformats.org/officeDocument/2006/relationships/image" Target="../media/image1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7" Type="http://schemas.openxmlformats.org/officeDocument/2006/relationships/image" Target="../media/image1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7" Type="http://schemas.openxmlformats.org/officeDocument/2006/relationships/image" Target="../media/image1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4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1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z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057A38C-8E50-4534-8021-1F305E03C57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5F757F2-1C7C-4D58-83E9-60ED0352433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BF001C5-064A-49F3-8734-1A96B7E0E183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3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9A12E61-86B5-4B87-81A8-B12230F3B04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3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1A486C8-8EAD-467B-B624-F65D6DE6DDC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0A4998B-ED9E-4044-A790-84187E692A2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D6DBD29-01DD-4D83-96B3-7BE3C99ED81A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3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6E41B72-50B2-4D4E-BEF5-7A20AD030FF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7411F7-BEE5-4EE0-8D54-0A44DED8819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 du 11.06.2024</a:t>
            </a: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233DB16-8B16-4C67-BA97-C1C4898B59B7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9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26E60CB-B5DC-4B74-A1E6-6E0082336BE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C5314D6-20EF-4262-AB77-2E71330E9ECB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8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D7590DF-02F4-4F03-840C-4595CC9EC52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E1982B4-36AC-47ED-AC0C-E6812B39B15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2AE9C5F-E08C-40BF-8A0A-A9D437C9A00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9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6BA7AD8-98F1-4331-A21F-F86C72F73F1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102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86EC15C-711D-4BFF-8B81-AB4689BF949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.xml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.ch/etat-et-droit/votations-elections-et-droits-politiques/elections-communales-2026" TargetMode="External"/><Relationship Id="rId2" Type="http://schemas.openxmlformats.org/officeDocument/2006/relationships/hyperlink" Target="https://www.fr.ch/vie-quotidienne/integration-et-coordination-sociale/votre-voix-compte-participez-aux-elections-communales-2026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fr.ch/etat-et-droit/votations-elections-et-droits-politiques/elections-informations-et-resultats/comment-voter-pour-les-elections-communales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0482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el 1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5613" y="1547813"/>
            <a:ext cx="8289925" cy="948978"/>
          </a:xfrm>
        </p:spPr>
        <p:txBody>
          <a:bodyPr/>
          <a:lstStyle/>
          <a:p>
            <a:pPr eaLnBrk="1" hangingPunct="1"/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Participation aux élections communales</a:t>
            </a: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A007A77-79C7-E3B1-D323-88477A1029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703" y="2780928"/>
            <a:ext cx="5273936" cy="309634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507F19B9-9E25-5210-ABA7-E8E6C1F164C4}"/>
              </a:ext>
            </a:extLst>
          </p:cNvPr>
          <p:cNvSpPr txBox="1"/>
          <p:nvPr/>
        </p:nvSpPr>
        <p:spPr>
          <a:xfrm>
            <a:off x="455613" y="476672"/>
            <a:ext cx="7932811" cy="16799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/>
              <a:t>Présentation «Système politique et mode d’emploi pour voter»</a:t>
            </a:r>
            <a:r>
              <a:rPr lang="fr-CH" dirty="0"/>
              <a:t> Outil pour animer des séances d’information auprès de la population</a:t>
            </a:r>
            <a:endParaRPr lang="fr-CH" sz="2400" b="1" dirty="0"/>
          </a:p>
          <a:p>
            <a:pPr>
              <a:lnSpc>
                <a:spcPts val="2500"/>
              </a:lnSpc>
              <a:spcAft>
                <a:spcPts val="600"/>
              </a:spcAft>
              <a:buClr>
                <a:srgbClr val="074EA1"/>
              </a:buClr>
            </a:pPr>
            <a:endParaRPr lang="fr-CH" sz="24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dirty="0">
                <a:highlight>
                  <a:srgbClr val="FFFF00"/>
                </a:highlight>
              </a:rPr>
              <a:t>								 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6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555E3-99D9-39A9-CCEB-184941DDC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53DD0C-D273-02C0-5BE4-5CE72BB05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3000" dirty="0">
                <a:solidFill>
                  <a:schemeClr val="accent4"/>
                </a:solidFill>
              </a:rPr>
              <a:t>Pourquoi voter aux élections communales ? </a:t>
            </a:r>
            <a:r>
              <a:rPr lang="fr-CH" sz="3000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sz="30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97B407C-BA16-D170-1BD7-92218F94AC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338554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Exercer vos droits et liberté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articiper à la démocrati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Faire entendre votre voix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hoisir qui décide pour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sécurité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écoles, routes, crèche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sport et cultur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environnement et déchet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ohésion social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31426F2-09C9-BDAA-F950-B0B5512E56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Participer aux élections communales, c’est notamment: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8C4695-89DC-1A98-6F2F-96DE105091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789" y="1952306"/>
            <a:ext cx="3227388" cy="262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466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D263CC-D451-9F06-3E67-C3B381DBE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1A21EF-0169-585E-CBEE-819B52372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Qui peut voter ?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BE58E30-5F1E-3F8F-C71D-CBBA3C545E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161582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itoyens et citoyennes </a:t>
            </a:r>
            <a:r>
              <a:rPr lang="fr-CH" b="1" dirty="0"/>
              <a:t>suisses</a:t>
            </a:r>
            <a:r>
              <a:rPr lang="fr-CH" dirty="0"/>
              <a:t> dès 18 ans, qui ont leur domicile dans la commu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ersonnes avec </a:t>
            </a:r>
            <a:r>
              <a:rPr lang="fr-CH" b="1" dirty="0"/>
              <a:t>permis C</a:t>
            </a:r>
            <a:r>
              <a:rPr lang="fr-CH" dirty="0"/>
              <a:t>, dès 18 ans, qui ont leur domicile dans la commune et qui ont résidé dans le canton de Fribourg pendant au moins 5 ans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4D6E36-EDE5-651A-BA7A-C607DB3FCC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Qui peut voter ou être élu aux élections communales 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7736488-F293-A3DF-D54A-6655229DF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1" y="3525643"/>
            <a:ext cx="3046770" cy="192210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BAE17C2-3A55-1A59-BA4E-553DFF4E9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816" y="3488170"/>
            <a:ext cx="1420244" cy="195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8348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AA245E-D9B0-B46B-BF96-C9907B193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1F4E1D-6F45-102B-2DAC-151913F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matériel de vote  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5726653-5CC2-1224-DA68-D52612AD9F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4751350" cy="3759398"/>
          </a:xfrm>
        </p:spPr>
        <p:txBody>
          <a:bodyPr/>
          <a:lstStyle/>
          <a:p>
            <a:pPr marL="0" indent="0"/>
            <a:r>
              <a:rPr lang="fr-CH" dirty="0"/>
              <a:t>Vous avez reçu par la poste une grande enveloppe blanche contenant: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fr-CH" dirty="0"/>
              <a:t>Brochure explicative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fr-CH" dirty="0"/>
              <a:t>Certificat de capacité civique (à signer)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fr-CH" dirty="0"/>
              <a:t>Bulletins bleus et	enveloppe bleue (Conseil communal)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fr-CH" dirty="0"/>
              <a:t>Bulletins verts et enveloppe verte (Conseil général). Seulement dans certaines communes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B7CF03-8ECE-1C4E-37CF-985D04F73C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Le matériel de vot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6B2BD7A-81B5-138A-E0AB-4B62640EC5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5734" y="1253778"/>
            <a:ext cx="3401552" cy="453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17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A2F95F-5747-BBBE-B1B0-71B966A5F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9FFB71-DBC4-8BDC-B7B0-BB65B93D7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matériel de vote  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1655D82-C490-5E79-BB43-AE044A21F8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0772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us n’avez pas reçu le matériel de vote 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tre matériel de vote n’est pas complet ?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us pouvez téléphoner au secrétariat de votre commune.</a:t>
            </a:r>
            <a:endParaRPr lang="fr-CH" dirty="0">
              <a:highlight>
                <a:srgbClr val="FFFF00"/>
              </a:highlight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F614EC1-E9B5-E6E9-9226-889022AC77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Matériel de vote manquant</a:t>
            </a:r>
          </a:p>
        </p:txBody>
      </p:sp>
      <p:pic>
        <p:nvPicPr>
          <p:cNvPr id="6" name="Image 5" descr="Une image contenant Appareils électroniques, gadget, Appareil électronique, écouteur">
            <a:extLst>
              <a:ext uri="{FF2B5EF4-FFF2-40B4-BE49-F238E27FC236}">
                <a16:creationId xmlns:a16="http://schemas.microsoft.com/office/drawing/2014/main" id="{E90BD1F6-3CC9-A4E8-D46C-9DD6462039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3260762"/>
            <a:ext cx="3467906" cy="23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388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F0825-18BC-E739-09C7-8D1481869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8FCF04-2B1E-83F3-E557-F67FAB3FF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matériel de vote  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3D20A4F-D9B6-2103-4A49-E35206C0A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84665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1 seul bulletin bleu dans l’enveloppe bleu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1 seul bulletin vert dans l’enveloppe verte (si vous les avez reçu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Noms lisibles, écrits à la mai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Ne rien signer, dessiner ou ajout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Ne pas voter à la place de quelqu’un d’autr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B597AE-D4AC-564B-20E9-78DCF982E1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Règles à respecter pour le vot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C7C8708-A334-2856-4B51-631A95571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3966136"/>
            <a:ext cx="5292080" cy="1965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155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FECB1-C3C8-A902-476B-D595B4736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1B6966-1688-099D-86F1-9904E72AC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C96C98B-F964-D77F-C572-D3AD1A584D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223138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r-CH" dirty="0"/>
              <a:t>Choisir une liste sans modification.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Choisir une liste et tracer des noms.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Choisir une liste et ajouter des noms d’autres listes.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Combiner : tracer et ajouter.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Remplir une liste vide à la main.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Voter blanc (liste vide, sans noms)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4C63E30-F1C1-43EE-6728-DB3B83D2CE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Les 6 différentes possibilités de voter</a:t>
            </a:r>
          </a:p>
        </p:txBody>
      </p:sp>
      <p:pic>
        <p:nvPicPr>
          <p:cNvPr id="6" name="Image 5" descr="Une image contenant ampoule, Photographie de nature morte, nature morte, art&#10;&#10;Le contenu généré par l’IA peut être incorrect.">
            <a:extLst>
              <a:ext uri="{FF2B5EF4-FFF2-40B4-BE49-F238E27FC236}">
                <a16:creationId xmlns:a16="http://schemas.microsoft.com/office/drawing/2014/main" id="{73F6AB43-2B7C-EC2D-9238-139050EF98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4146" y="3429000"/>
            <a:ext cx="3352739" cy="233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37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4C32D-E5FA-9899-D182-B973E98072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2AE563C-385C-6C5A-9493-8934594D4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251497-F31A-727D-22FA-491E618EE5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7697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hoisir une liste de personnes et ne rien changer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choisissez la liste des personnes qui ont les mêmes idées que vou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ne changez ri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90BB8A8-42A6-BEF7-C1A9-2B0E900D43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Possibilité 1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ACA0650-D989-9BAF-EC12-4DF6831F5A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4" y="3826584"/>
            <a:ext cx="1671592" cy="218760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E98D025-C132-0B71-FF88-CBB4C0882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3968277"/>
            <a:ext cx="3217657" cy="2002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6720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F6B28-0C06-FAAF-A47A-EC7287A11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5E9B12-3251-E3E7-F518-0B8E0FEB4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927FFAD-D0F0-9136-1129-9586DCB6E9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564050"/>
            <a:ext cx="8363272" cy="24622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hoisir une liste de personnes et tracer des noms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choisissez la liste des personnes qui ont les mêmes idées que vou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ne partagez pas les idées d’une ou plusieurs personnes sur cette list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les tracez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4595CB1-B7B2-746B-08AE-ABDAD049EA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23077"/>
            <a:ext cx="8242300" cy="369332"/>
          </a:xfrm>
        </p:spPr>
        <p:txBody>
          <a:bodyPr/>
          <a:lstStyle/>
          <a:p>
            <a:r>
              <a:rPr lang="fr-CH" dirty="0"/>
              <a:t>Possibilité 2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F220865-B673-9E92-EA37-C60F3874D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066" y="4077072"/>
            <a:ext cx="1480189" cy="193711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86ECFE3-D793-8771-4684-B33D6C52A1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4207113"/>
            <a:ext cx="2832934" cy="174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952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41EA4-F0A1-22AA-7FE3-30D3329E7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96D128-25A8-974D-48CF-B63B80DE3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03666C4-66C9-9D0C-ED62-BA45D84105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2109" y="1709937"/>
            <a:ext cx="8639782" cy="253915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hoisir une liste de personnes et ajouter des noms d’autres listes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choisissez la liste des personnes qui ont vos mêmes idées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appréciez une ou plusieurs personnes qui sont sur d’autres liste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ajoutez ces personnes en écrivant les noms et prénoms à la mai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Attention : Vous pouvez ajouter des personnes seulement s’il y a des lignes encore vide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BC5EEE-60B2-E56D-92B3-D624CA3A0D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Possibilité 3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900D12-11F2-5CE4-0413-5C3B74E508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4437112"/>
            <a:ext cx="1205075" cy="157707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8366E82-B0A4-D992-0064-DED443686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1960" y="4437112"/>
            <a:ext cx="2410499" cy="168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8197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575E5-07E8-6271-23A7-603772852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62C8AD-4677-AFE6-C79F-C96D4149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AA1589-FDD1-6490-172F-10B0454216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522296"/>
            <a:ext cx="8495766" cy="292387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hoisir une liste de personnes et tracer et rajouter des noms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choisissez la liste des personnes qui ont vos mêmes idée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ne partagez pas les idées d’une ou plusieurs personnes sur cette list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les tracez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appréciez une ou plusieurs personnes sur d’autres liste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les rajouter en écrivant leurs noms et prénoms à la mai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85472EB-5B31-40FA-6B39-63A809AEA0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07961"/>
            <a:ext cx="8242300" cy="369332"/>
          </a:xfrm>
        </p:spPr>
        <p:txBody>
          <a:bodyPr/>
          <a:lstStyle/>
          <a:p>
            <a:r>
              <a:rPr lang="fr-CH" dirty="0"/>
              <a:t>Possibilité 4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B149FBE-8FB9-990F-A713-1E76AF400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3031" y="4491176"/>
            <a:ext cx="1163764" cy="152301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F6B59BD-A48F-B808-C848-DC8536D03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984" y="4471999"/>
            <a:ext cx="2600118" cy="161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251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981B0-7FF4-FAD0-C2AB-9983B7920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Rectangle 6" hidden="1">
            <a:extLst>
              <a:ext uri="{FF2B5EF4-FFF2-40B4-BE49-F238E27FC236}">
                <a16:creationId xmlns:a16="http://schemas.microsoft.com/office/drawing/2014/main" id="{9EC7BB40-6EB2-52DF-3ED1-8ECFC490ABEC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1506" name="Rectangle 6" hidden="1">
                        <a:extLst>
                          <a:ext uri="{FF2B5EF4-FFF2-40B4-BE49-F238E27FC236}">
                            <a16:creationId xmlns:a16="http://schemas.microsoft.com/office/drawing/2014/main" id="{9EC7BB40-6EB2-52DF-3ED1-8ECFC490ABEC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Rectangle 2">
            <a:extLst>
              <a:ext uri="{FF2B5EF4-FFF2-40B4-BE49-F238E27FC236}">
                <a16:creationId xmlns:a16="http://schemas.microsoft.com/office/drawing/2014/main" id="{3F64DE48-0A84-88E3-D724-3E80A3D1C0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eaLnBrk="1" hangingPunct="1"/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Table des matières</a:t>
            </a:r>
            <a:b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DA97DB90-F7DA-4CB8-8F3B-E9009C2160A6}"/>
              </a:ext>
            </a:extLst>
          </p:cNvPr>
          <p:cNvSpPr txBox="1">
            <a:spLocks/>
          </p:cNvSpPr>
          <p:nvPr/>
        </p:nvSpPr>
        <p:spPr>
          <a:xfrm>
            <a:off x="450850" y="5521061"/>
            <a:ext cx="8242300" cy="61555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endParaRPr lang="fr-CH" sz="2800" b="1" dirty="0">
              <a:solidFill>
                <a:srgbClr val="002C77"/>
              </a:solidFill>
            </a:endParaRPr>
          </a:p>
          <a:p>
            <a:pPr marL="0" indent="0"/>
            <a:endParaRPr lang="fr-CH" sz="2800" b="1" dirty="0">
              <a:solidFill>
                <a:srgbClr val="002C77"/>
              </a:solidFill>
            </a:endParaRPr>
          </a:p>
          <a:p>
            <a:pPr marL="0" indent="0"/>
            <a:endParaRPr lang="fr-CH" sz="2800" b="1" dirty="0">
              <a:solidFill>
                <a:srgbClr val="002C77"/>
              </a:solidFill>
            </a:endParaRPr>
          </a:p>
          <a:p>
            <a:pPr marL="0" indent="0"/>
            <a:endParaRPr lang="fr-CH" sz="2800" b="1" dirty="0">
              <a:solidFill>
                <a:srgbClr val="002C77"/>
              </a:solidFill>
            </a:endParaRP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FAFC21D-509C-D891-9AE3-6F50A66E07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3077766"/>
          </a:xfrm>
        </p:spPr>
        <p:txBody>
          <a:bodyPr/>
          <a:lstStyle/>
          <a:p>
            <a:r>
              <a:rPr lang="fr-CH" dirty="0"/>
              <a:t>Le système politique suisse</a:t>
            </a:r>
          </a:p>
          <a:p>
            <a:r>
              <a:rPr lang="fr-CH" dirty="0"/>
              <a:t>Le système politique communal fribourgeois</a:t>
            </a:r>
          </a:p>
          <a:p>
            <a:r>
              <a:rPr lang="fr-CH" dirty="0"/>
              <a:t>Pourquoi voter?</a:t>
            </a:r>
          </a:p>
          <a:p>
            <a:r>
              <a:rPr lang="fr-CH" dirty="0"/>
              <a:t>Qui peut participer aux élections communales ? </a:t>
            </a:r>
          </a:p>
          <a:p>
            <a:r>
              <a:rPr lang="fr-CH" dirty="0"/>
              <a:t>Le matériel de vote</a:t>
            </a:r>
          </a:p>
          <a:p>
            <a:r>
              <a:rPr lang="fr-CH" dirty="0"/>
              <a:t>Comment voter ?</a:t>
            </a:r>
          </a:p>
          <a:p>
            <a:r>
              <a:rPr lang="fr-CH" dirty="0"/>
              <a:t>Quand voter ?</a:t>
            </a:r>
          </a:p>
        </p:txBody>
      </p:sp>
    </p:spTree>
    <p:extLst>
      <p:ext uri="{BB962C8B-B14F-4D97-AF65-F5344CB8AC3E}">
        <p14:creationId xmlns:p14="http://schemas.microsoft.com/office/powerpoint/2010/main" val="1418612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407AE1-669E-5076-1EC6-553CD95C7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558E50-4E8A-77F2-5B43-70C3D2567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819945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93FE4A-0249-FA9C-B24C-A07C27DF4C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556794"/>
            <a:ext cx="8363272" cy="28083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Remplir une liste de vote vide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prenez la liste vide à la fin du carnet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écrivez à la main sur les lignes les noms et les prénoms de candidat-e-s que vous choisissez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Si vous le souhaitez, vous écrivez en haut le nom d’un parti politique ou le numéro d’une liste. De cette façon vous pouvez soutenir votre parti ou liste favorit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6B26173-2D0B-345F-8C7F-1CD6EAAE28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24745"/>
            <a:ext cx="8242300" cy="432048"/>
          </a:xfrm>
        </p:spPr>
        <p:txBody>
          <a:bodyPr/>
          <a:lstStyle/>
          <a:p>
            <a:r>
              <a:rPr lang="fr-CH" dirty="0"/>
              <a:t>Possibilité 5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083AC77-43CA-D970-DDC7-ABF7D95F9A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1" y="4509120"/>
            <a:ext cx="1150052" cy="150506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1ACE5D4-0F98-FF80-D9DA-E353EBD6D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008" y="4416669"/>
            <a:ext cx="1600981" cy="170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42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9CC31-870D-E5EB-0567-D106BEFA4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C86FFC-2C3B-5E5F-33D8-1EE7979E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B7F6836-FB2D-E9E1-DC6A-E6187771B6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215443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ter blanc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ela veut dire que vous participez à l’élection communale sans choisir de personnes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prenez la liste vide à la fin du carnet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n’écrivez rien dessus. 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Vous mettez cette liste vide dans l’enveloppe de la même couleur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154D207-9ECE-6A85-9302-2F11668F62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Possibilité 6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D4B1C87-8E02-C2F6-5CC3-BFF04EBFF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736" y="4207113"/>
            <a:ext cx="1315120" cy="172109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A04579C-BEFD-D0A4-F171-3B90330ADC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984" y="4207113"/>
            <a:ext cx="1655060" cy="174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9573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DCF358-118A-5412-134C-7D88639D8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39896E-06B3-11EF-29ED-5CB464840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EB9C632-D8ED-6306-54B8-F9740BA238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2250866"/>
            <a:ext cx="8363272" cy="10772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arler avec vos proches et voisi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ire la presse, écouter la radio ou regarder la télévis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isiter les sites des partis politiques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178E69D-6A9A-0A9B-3010-06DE3BBE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738664"/>
          </a:xfrm>
        </p:spPr>
        <p:txBody>
          <a:bodyPr/>
          <a:lstStyle/>
          <a:p>
            <a:r>
              <a:rPr lang="fr-CH" dirty="0"/>
              <a:t>Comment choisir les candidats et candidates qui correspondent à vos intérêts 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6C7B841-1C03-F839-E764-DD5A544A1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3844259"/>
            <a:ext cx="1623678" cy="204328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AB6B7C6-5EE3-288F-5857-5F2353FED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800" y="4065802"/>
            <a:ext cx="2500943" cy="165229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F462576-3342-006B-5979-48CEB798B3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8144" y="4034751"/>
            <a:ext cx="2719485" cy="175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293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0CF4C6-C0D9-6958-E41B-E0DC9A0039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78E761-B4DC-7E55-3C39-707DF50DB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04800"/>
            <a:ext cx="8255000" cy="699359"/>
          </a:xfrm>
        </p:spPr>
        <p:txBody>
          <a:bodyPr/>
          <a:lstStyle/>
          <a:p>
            <a:pPr>
              <a:lnSpc>
                <a:spcPts val="2700"/>
              </a:lnSpc>
            </a:pPr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5E9F63A-30BD-A657-410B-B13D08CAF3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496500"/>
            <a:ext cx="8363272" cy="446276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Signer le certificat de capacité civiqu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Mettre dans la grande enveloppe blanche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ertificat signé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’enveloppe bleue avec le bulletin bleu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’enveloppe verte avec le bulletin vert (si vous les avez reçus).</a:t>
            </a:r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’adresse du Bureau de vote de votre commune doit bien se voir dans la fenêtre transparente de l’enveloppe blanch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us fermez l’enveloppe blanch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8CE02B-C104-0038-6A26-2825980E6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106" y="1004159"/>
            <a:ext cx="8242300" cy="360040"/>
          </a:xfrm>
        </p:spPr>
        <p:txBody>
          <a:bodyPr/>
          <a:lstStyle/>
          <a:p>
            <a:r>
              <a:rPr lang="fr-CH" dirty="0"/>
              <a:t>Comment mettre ensemble les documents de vot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D053EA2-DD26-B556-BDED-14BBD828BC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426" y="3450839"/>
            <a:ext cx="1636934" cy="132025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94CD30-BA39-4817-1665-C777C068B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2773" y="3427686"/>
            <a:ext cx="1917259" cy="134340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46C147E-B28B-3E02-D1DA-AB631B09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1530" y="3427685"/>
            <a:ext cx="1868742" cy="134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3535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032AE-CED7-91D0-A446-A5D721DD5E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E89237-0A78-FC91-B952-00924E492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Comment voter ?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11623-19FA-73DE-CF58-6B10C00779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659285"/>
            <a:ext cx="8363272" cy="207749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Trois options 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Par la poste. L’enveloppe doit arriver au plus tard le vendredi 7 mars 2026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Dans la boîte à lettre de votre commune avant le 8 mars 2026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En personne dans local de vote de votre commune le </a:t>
            </a:r>
            <a:r>
              <a:rPr lang="fr-CH" b="1" dirty="0"/>
              <a:t>dimanche 8 mars 2026</a:t>
            </a:r>
            <a:r>
              <a:rPr lang="fr-CH" dirty="0"/>
              <a:t> (matin) avec votre carte d’identité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86B74AD-1D1C-DC06-6450-009A1E98CF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65792"/>
            <a:ext cx="8242300" cy="369332"/>
          </a:xfrm>
        </p:spPr>
        <p:txBody>
          <a:bodyPr/>
          <a:lstStyle/>
          <a:p>
            <a:r>
              <a:rPr lang="fr-CH" dirty="0"/>
              <a:t>Comment transmettre les documents de vote 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381A4B9-E408-8B49-1439-0F85E2322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3846155"/>
            <a:ext cx="1365907" cy="18355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B35F651-EA12-AFA7-4456-E28EFA4A4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832" y="3773203"/>
            <a:ext cx="2472082" cy="1981476"/>
          </a:xfrm>
          <a:prstGeom prst="rect">
            <a:avLst/>
          </a:prstGeom>
        </p:spPr>
      </p:pic>
      <p:pic>
        <p:nvPicPr>
          <p:cNvPr id="7" name="Image 6" descr="Une image contenant conteneur, boîte, personne, conception&#10;&#10;Le contenu généré par l’IA peut être incorrect.">
            <a:extLst>
              <a:ext uri="{FF2B5EF4-FFF2-40B4-BE49-F238E27FC236}">
                <a16:creationId xmlns:a16="http://schemas.microsoft.com/office/drawing/2014/main" id="{938B8E60-556E-A9B9-BCA6-772AFA198B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0664" y="3773203"/>
            <a:ext cx="1785712" cy="225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8097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6EAE9-342A-6BD9-0CCC-321C2D9F3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DB0710-9B04-6AD9-4A40-3C00AA183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Dates importantes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E13D3CF-718D-D559-17BA-CCA4D9363E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844824"/>
            <a:ext cx="8363272" cy="352839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b="1" dirty="0"/>
              <a:t>Premier tour : </a:t>
            </a:r>
            <a:r>
              <a:rPr lang="fr-CH" dirty="0"/>
              <a:t>dimanche 8 mars 2026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b="1" dirty="0"/>
              <a:t>Deuxième tour (si nécessaire) : </a:t>
            </a:r>
            <a:r>
              <a:rPr lang="fr-CH" dirty="0"/>
              <a:t>dimanche 29 mars 2026</a:t>
            </a:r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endParaRPr lang="fr-CH" dirty="0"/>
          </a:p>
          <a:p>
            <a:pPr marL="0" indent="0"/>
            <a:r>
              <a:rPr lang="fr-CH" dirty="0"/>
              <a:t>Sauf pour les 4 communes qui fusionnent le 1</a:t>
            </a:r>
            <a:r>
              <a:rPr lang="fr-CH" baseline="30000" dirty="0"/>
              <a:t>er</a:t>
            </a:r>
            <a:r>
              <a:rPr lang="fr-CH" dirty="0"/>
              <a:t> janvier 2026 : </a:t>
            </a:r>
          </a:p>
          <a:p>
            <a:pPr marL="0" indent="0"/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Fétigny–Méniè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Gurmels–Ulmiz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246F8ED-D152-350B-90EE-945BCE82B1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Quand voter 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DC9A1BA-A72B-0F87-40EC-EA563861B8CB}"/>
              </a:ext>
            </a:extLst>
          </p:cNvPr>
          <p:cNvSpPr txBox="1"/>
          <p:nvPr/>
        </p:nvSpPr>
        <p:spPr>
          <a:xfrm>
            <a:off x="4139952" y="4149080"/>
            <a:ext cx="3456384" cy="859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</a:rPr>
              <a:t>1er tour : 9 novembre 2025</a:t>
            </a:r>
          </a:p>
          <a:p>
            <a:pPr marL="88900" marR="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</a:rPr>
              <a:t>2e tour : 30 novembre 2025</a:t>
            </a:r>
          </a:p>
          <a:p>
            <a:pPr marL="0" marR="0" lvl="0" indent="0" algn="l" defTabSz="457200" rtl="0" eaLnBrk="1" fontAlgn="base" latinLnBrk="0" hangingPunct="1">
              <a:lnSpc>
                <a:spcPts val="19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endParaRPr kumimoji="0" lang="fr-CH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/>
            </a:endParaRPr>
          </a:p>
        </p:txBody>
      </p:sp>
      <p:sp>
        <p:nvSpPr>
          <p:cNvPr id="7" name="Accolade fermante 6">
            <a:extLst>
              <a:ext uri="{FF2B5EF4-FFF2-40B4-BE49-F238E27FC236}">
                <a16:creationId xmlns:a16="http://schemas.microsoft.com/office/drawing/2014/main" id="{6E30BF4C-8F5E-3448-17AD-97CDE62280C2}"/>
              </a:ext>
            </a:extLst>
          </p:cNvPr>
          <p:cNvSpPr/>
          <p:nvPr/>
        </p:nvSpPr>
        <p:spPr>
          <a:xfrm>
            <a:off x="3347864" y="4077072"/>
            <a:ext cx="576064" cy="792088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CH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0174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53779-0358-E8A0-B171-AF30D408A3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813558-21FB-E40D-9E0E-E3A0D3BF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Autres outils à disposition 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F24CC8A-6F19-48DF-BA63-E217466B01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390364" y="1844824"/>
            <a:ext cx="8363272" cy="330859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b="1" dirty="0"/>
              <a:t>Campagne «Votre voix compte!»</a:t>
            </a:r>
          </a:p>
          <a:p>
            <a:pPr marL="0" indent="0"/>
            <a:r>
              <a:rPr lang="fr-CH" dirty="0"/>
              <a:t>Lien: </a:t>
            </a:r>
            <a:r>
              <a:rPr lang="fr-CH" dirty="0">
                <a:hlinkClick r:id="rId2"/>
              </a:rPr>
              <a:t>Votre voix compte : participez aux élections communales 2026 ! | Etat de Fribourg</a:t>
            </a:r>
            <a:endParaRPr lang="fr-CH" dirty="0"/>
          </a:p>
          <a:p>
            <a:pPr marL="0" indent="0"/>
            <a:endParaRPr lang="fr-CH" dirty="0"/>
          </a:p>
          <a:p>
            <a:pPr>
              <a:buFont typeface="Arial" panose="020B0604020202020204" pitchFamily="34" charset="0"/>
              <a:buChar char="•"/>
            </a:pPr>
            <a:r>
              <a:rPr lang="fr-CH" b="1" dirty="0"/>
              <a:t>Campagnes Etat de Fribourg </a:t>
            </a:r>
            <a:endParaRPr lang="fr-CH" dirty="0"/>
          </a:p>
          <a:p>
            <a:pPr marL="0" indent="0"/>
            <a:r>
              <a:rPr lang="fr-CH" dirty="0"/>
              <a:t>Liens</a:t>
            </a:r>
            <a:r>
              <a:rPr lang="fr-CH"/>
              <a:t>: </a:t>
            </a:r>
          </a:p>
          <a:p>
            <a:pPr marL="0" indent="0"/>
            <a:r>
              <a:rPr lang="fr-CH">
                <a:hlinkClick r:id="rId3"/>
              </a:rPr>
              <a:t>Elections </a:t>
            </a:r>
            <a:r>
              <a:rPr lang="fr-CH" dirty="0">
                <a:hlinkClick r:id="rId3"/>
              </a:rPr>
              <a:t>communales 2026 | Etat de Fribourg</a:t>
            </a:r>
            <a:endParaRPr lang="fr-CH" dirty="0"/>
          </a:p>
          <a:p>
            <a:pPr marL="0" indent="0"/>
            <a:r>
              <a:rPr lang="fr-CH" sz="2000" u="sng" dirty="0">
                <a:solidFill>
                  <a:srgbClr val="467886"/>
                </a:solidFill>
                <a:effectLst/>
                <a:latin typeface="+mn-lt"/>
                <a:ea typeface="Aptos" panose="020B0004020202020204" pitchFamily="34" charset="0"/>
                <a:cs typeface="Aptos" panose="020B0004020202020204" pitchFamily="34" charset="0"/>
                <a:hlinkClick r:id="rId4"/>
              </a:rPr>
              <a:t>Comment voter pour les élections communales | Etat de Fribourg</a:t>
            </a:r>
            <a:r>
              <a:rPr lang="fr-CH" sz="2000" dirty="0">
                <a:effectLst/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  <a:t> </a:t>
            </a:r>
            <a:endParaRPr lang="fr-CH" dirty="0">
              <a:latin typeface="+mn-lt"/>
            </a:endParaRPr>
          </a:p>
          <a:p>
            <a:pPr marL="0" indent="0"/>
            <a:endParaRPr lang="fr-CH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D6DBFF-327C-9D9F-005C-695169A039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Campagnes 2025</a:t>
            </a:r>
          </a:p>
        </p:txBody>
      </p:sp>
    </p:spTree>
    <p:extLst>
      <p:ext uri="{BB962C8B-B14F-4D97-AF65-F5344CB8AC3E}">
        <p14:creationId xmlns:p14="http://schemas.microsoft.com/office/powerpoint/2010/main" val="22986875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0F0D3-5D37-3F33-9902-26935C54C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E8BFE5-D56A-9E1A-E48B-7786B0D79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Pour conclure</a:t>
            </a:r>
            <a:br>
              <a:rPr lang="fr-CH" dirty="0">
                <a:solidFill>
                  <a:schemeClr val="accent4"/>
                </a:solidFill>
              </a:rPr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BD78A5C-E5F9-6D09-0BEF-A3A585B41F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844824"/>
            <a:ext cx="8363272" cy="13849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En participant aux élections communales, vous décidez de l’avenir de votre commune. Votre voix compte 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Merci de votre attention 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Des questions ?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21908E8-AC8B-FB75-32C7-F0E90FFB1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Votre voix est important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707EF6D-8878-F468-331D-D38FEFEB9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2420888"/>
            <a:ext cx="2861644" cy="364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93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76B6731-CC27-F584-413B-1B1369032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Note à l’intention des utilisateurs-trices 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255D73-4120-A502-0C05-C75F224CAE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7484" y="1659285"/>
            <a:ext cx="8242300" cy="1769715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  <a:defRPr/>
            </a:pPr>
            <a:r>
              <a:rPr lang="fr-CH" dirty="0"/>
              <a:t>La base de cette présentation a été réalisée par l’Etat de Fribourg. 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fr-CH" dirty="0"/>
              <a:t>Elle est à disposition de toute structure intéressée à promouvoir la participation citoyenne aux élections communales 2026.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fr-CH" dirty="0"/>
              <a:t>Cette présentation peut être modifiée selon les besoins. </a:t>
            </a:r>
          </a:p>
          <a:p>
            <a:endParaRPr lang="fr-CH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B9569A3-967B-BA36-7F58-0409230AA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552" y="969046"/>
            <a:ext cx="8242300" cy="369332"/>
          </a:xfrm>
        </p:spPr>
        <p:txBody>
          <a:bodyPr/>
          <a:lstStyle/>
          <a:p>
            <a:r>
              <a:rPr lang="de-CH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fr-CH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CC505EFD-562D-D06A-7DFE-ECF0C435C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0705" y="4246085"/>
            <a:ext cx="1277930" cy="107381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679EE05-ABAC-7C7C-00E2-E823A29CBE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2440" y="4207912"/>
            <a:ext cx="1309383" cy="100886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86BD54E-4A8C-FEB8-2F85-0A013C6D4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520" y="4289624"/>
            <a:ext cx="2080066" cy="845447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4DBA2FA-6A93-5939-0A4A-85A416B30F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5411" y="4392101"/>
            <a:ext cx="1563558" cy="89446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9ED90576-DADD-7813-B62C-579A2D261B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0099" y="4392101"/>
            <a:ext cx="1929685" cy="990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64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07ADF0-3A68-2573-385C-89F24A115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politique suisse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761A8E-0677-A8F4-2E7F-95A3C48484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7578" y="1713837"/>
            <a:ext cx="8352893" cy="276998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a Suisse est une démocratie participative : les citoyens et citoyennes participent aux décis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a démocratie suisse fonctionne selon le principe de séparation des 3 Pouvoirs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 Pouvoir exécutif : il met en œuvre les lois. C’est le gouvernement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 Pouvoir législatif : il fait et vote les lois. C’est le parlement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 Pouvoir judiciaire : il fait respecter les lois. Ce sont les tribunaux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EDA6C71-F260-1544-D557-2D0490D17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579" y="1179969"/>
            <a:ext cx="8242300" cy="369332"/>
          </a:xfrm>
        </p:spPr>
        <p:txBody>
          <a:bodyPr/>
          <a:lstStyle/>
          <a:p>
            <a:r>
              <a:rPr lang="fr-CH" dirty="0"/>
              <a:t>3 Pouvoirs politique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A08E26B-CE94-473B-8926-B0159F40F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7744" y="4224980"/>
            <a:ext cx="4248472" cy="1838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11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3A343-F17C-0BD4-2B8E-7D2BF8BD57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5A2569-6431-2F99-23D9-ECFA885C6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politique suisse 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0607C6A-BB33-F8C8-C492-3663D2ED18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17697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a Suisse est un Etat fédéral. Elle est structurée en trois niveaux politique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onfédération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anton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Communes (le niveau le plus proche de la population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F89A4E-47FE-C31D-B601-1C5B9BC52B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Trois niveaux politiques</a:t>
            </a:r>
          </a:p>
        </p:txBody>
      </p:sp>
      <p:pic>
        <p:nvPicPr>
          <p:cNvPr id="1026" name="Picture 2" descr="Bâtiment transformé, place de l’hôtel de ville © SBC Alain Kilar">
            <a:extLst>
              <a:ext uri="{FF2B5EF4-FFF2-40B4-BE49-F238E27FC236}">
                <a16:creationId xmlns:a16="http://schemas.microsoft.com/office/drawing/2014/main" id="{BE3840F5-CCE6-B374-1A54-988A09BEE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149080"/>
            <a:ext cx="2368340" cy="166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F500114-1252-AA73-2B60-A4831D6660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4041067"/>
            <a:ext cx="1853987" cy="176971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9A3134B-374F-2EF8-0520-96AC7724D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168" y="3944292"/>
            <a:ext cx="1781980" cy="206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92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7391F-53CA-3DC6-2227-FFC8384BB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99C8F8-A41D-EE59-48B5-F39CAD817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communal fribourgeois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663B24-D8E0-C921-0990-9D6EA3DE5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692497"/>
          </a:xfrm>
        </p:spPr>
        <p:txBody>
          <a:bodyPr/>
          <a:lstStyle/>
          <a:p>
            <a:pPr marL="0" indent="0"/>
            <a:r>
              <a:rPr lang="fr-CH" dirty="0"/>
              <a:t>Les communes fribourgeoises ont deux niveaux politiques: </a:t>
            </a:r>
          </a:p>
          <a:p>
            <a:pPr marL="0" indent="0"/>
            <a:r>
              <a:rPr lang="fr-CH" dirty="0"/>
              <a:t>l’Exécutif et le Législatif.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D6A3D1D-569C-7C13-BE05-ED627E518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Deux niveaux politiques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DDD18F8B-A379-2718-E2C0-83D5EBE4A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394721"/>
              </p:ext>
            </p:extLst>
          </p:nvPr>
        </p:nvGraphicFramePr>
        <p:xfrm>
          <a:off x="457200" y="2945422"/>
          <a:ext cx="8242299" cy="2931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7433">
                  <a:extLst>
                    <a:ext uri="{9D8B030D-6E8A-4147-A177-3AD203B41FA5}">
                      <a16:colId xmlns:a16="http://schemas.microsoft.com/office/drawing/2014/main" val="267343628"/>
                    </a:ext>
                  </a:extLst>
                </a:gridCol>
                <a:gridCol w="2747433">
                  <a:extLst>
                    <a:ext uri="{9D8B030D-6E8A-4147-A177-3AD203B41FA5}">
                      <a16:colId xmlns:a16="http://schemas.microsoft.com/office/drawing/2014/main" val="1455711719"/>
                    </a:ext>
                  </a:extLst>
                </a:gridCol>
                <a:gridCol w="2747433">
                  <a:extLst>
                    <a:ext uri="{9D8B030D-6E8A-4147-A177-3AD203B41FA5}">
                      <a16:colId xmlns:a16="http://schemas.microsoft.com/office/drawing/2014/main" val="2380784794"/>
                    </a:ext>
                  </a:extLst>
                </a:gridCol>
              </a:tblGrid>
              <a:tr h="529390"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accent4"/>
                          </a:solidFill>
                        </a:rPr>
                        <a:t>Orga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accent4"/>
                          </a:solidFill>
                        </a:rPr>
                        <a:t>Rô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accent4"/>
                          </a:solidFill>
                        </a:rPr>
                        <a:t>Taille (en généra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8455206"/>
                  </a:ext>
                </a:extLst>
              </a:tr>
              <a:tr h="700718">
                <a:tc>
                  <a:txBody>
                    <a:bodyPr/>
                    <a:lstStyle/>
                    <a:p>
                      <a:r>
                        <a:rPr lang="fr-CH" b="1" dirty="0"/>
                        <a:t>Conseil commu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Exécutif (dirige la commun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5 à 9 membres</a:t>
                      </a:r>
                    </a:p>
                    <a:p>
                      <a:endParaRPr lang="fr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0795675"/>
                  </a:ext>
                </a:extLst>
              </a:tr>
              <a:tr h="700718">
                <a:tc rowSpan="2">
                  <a:txBody>
                    <a:bodyPr/>
                    <a:lstStyle/>
                    <a:p>
                      <a:r>
                        <a:rPr lang="fr-CH" b="1" dirty="0"/>
                        <a:t>Conseil général</a:t>
                      </a:r>
                    </a:p>
                    <a:p>
                      <a:endParaRPr lang="fr-CH" b="1" dirty="0"/>
                    </a:p>
                    <a:p>
                      <a:r>
                        <a:rPr lang="fr-CH" dirty="0"/>
                        <a:t>ou</a:t>
                      </a:r>
                    </a:p>
                    <a:p>
                      <a:endParaRPr lang="fr-CH" dirty="0"/>
                    </a:p>
                    <a:p>
                      <a:r>
                        <a:rPr lang="fr-CH" b="1" dirty="0"/>
                        <a:t>Assemblée communale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fr-CH" dirty="0"/>
                    </a:p>
                    <a:p>
                      <a:endParaRPr lang="fr-CH" dirty="0"/>
                    </a:p>
                    <a:p>
                      <a:r>
                        <a:rPr lang="fr-CH" dirty="0"/>
                        <a:t>Législatif (vote les règles et le budg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30 à 80 membres (Conseil généra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8516269"/>
                  </a:ext>
                </a:extLst>
              </a:tr>
              <a:tr h="1001025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Tous les citoyens et citoyennes avec droit de vote peuvent particip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834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909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6E7D3-FB71-3FFA-BC3F-374D1D0F0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1477B8-8F5B-0BDB-6A4C-891699134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communal fribourgeois 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6E1EC9-7061-D0D7-0DC3-71FDB36717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292387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Conseil général ou Assemblée communale ?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Quelques communes parmi les plus grandes ont un </a:t>
            </a:r>
            <a:r>
              <a:rPr lang="fr-CH" b="1" dirty="0"/>
              <a:t>Conseil général </a:t>
            </a:r>
            <a:r>
              <a:rPr lang="fr-CH" dirty="0"/>
              <a:t>(par exemple Bulle, Morat, Fribourg, etc.). Les citoyens et citoyennes élisent les membres du Conseil général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s autres communes fonctionnent avec une </a:t>
            </a:r>
            <a:r>
              <a:rPr lang="fr-CH" b="1" dirty="0"/>
              <a:t>Assemblée communale </a:t>
            </a:r>
            <a:r>
              <a:rPr lang="fr-CH" dirty="0"/>
              <a:t>(c’est le cas par exemple pour Lully, Mézières, Broc, Treyvaux, Gurmels, Ueberstorf, Remaufens). </a:t>
            </a:r>
            <a:br>
              <a:rPr lang="fr-CH" dirty="0"/>
            </a:br>
            <a:r>
              <a:rPr lang="fr-CH" dirty="0"/>
              <a:t>L’Assemblée communale est ouverte à tous les citoyens et citoyennes qui ont le droit de vote.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57BC366-DF5B-C53A-DBA1-830BEF100D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Deux sortes de législatif</a:t>
            </a:r>
          </a:p>
        </p:txBody>
      </p:sp>
    </p:spTree>
    <p:extLst>
      <p:ext uri="{BB962C8B-B14F-4D97-AF65-F5344CB8AC3E}">
        <p14:creationId xmlns:p14="http://schemas.microsoft.com/office/powerpoint/2010/main" val="2106276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98F2E-6D74-5D52-0E63-4955D2411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30EE8F-2913-D35E-42A3-CF7D2BFBF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communal fribourgeois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FC16FB-790D-9DD9-BB7E-9E78C88FC4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1692771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Tous les cinq ans, les citoyens et citoyennes d’une commune élisent les </a:t>
            </a:r>
            <a:r>
              <a:rPr lang="fr-CH" b="1" dirty="0"/>
              <a:t>représentant-e-s communaux </a:t>
            </a:r>
            <a:r>
              <a:rPr lang="fr-CH" dirty="0"/>
              <a:t>: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s membres du Conseil communal (appelé aussi Exécutif)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fr-CH" dirty="0"/>
              <a:t>Les membres du Conseil général (appelé aussi Législatif) : seulement dans certaines communes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9ED7E81-C629-006E-4CAD-B0983F9E3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Elections tous les 5 ans</a:t>
            </a:r>
          </a:p>
        </p:txBody>
      </p:sp>
      <p:pic>
        <p:nvPicPr>
          <p:cNvPr id="2050" name="Picture 2" descr="Carte - Communes et secteurs / Karte - Gemeinden und Sektoren">
            <a:extLst>
              <a:ext uri="{FF2B5EF4-FFF2-40B4-BE49-F238E27FC236}">
                <a16:creationId xmlns:a16="http://schemas.microsoft.com/office/drawing/2014/main" id="{7145AEB0-C533-165F-B9B8-ECEE64ED3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667998"/>
            <a:ext cx="3430910" cy="237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893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63BA0-01D4-327E-783C-007D5688D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C61006-0752-4021-B133-216E9494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communal fribourgeois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C4A8C46-04F1-8C91-9E04-8BFA54B13F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407803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Dirige et administre la commu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Représente et défend la commu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Gère le personnel, les finances et les bie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Assure les services publics (école, crèches, distribution d’eau, sport, mobilité, sécurité, etc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répare le budget annue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Assure l’information du publi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Applique les décisions du Conseil génér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ropose des projets de fus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Se réunit plusieurs fois par moi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Dirigé par un syndic ou une syndiqu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9C1FAB1-4683-2ACA-919B-FD791F55A0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Que fait le Conseil communal (Exécutif) ? </a:t>
            </a:r>
          </a:p>
        </p:txBody>
      </p:sp>
    </p:spTree>
    <p:extLst>
      <p:ext uri="{BB962C8B-B14F-4D97-AF65-F5344CB8AC3E}">
        <p14:creationId xmlns:p14="http://schemas.microsoft.com/office/powerpoint/2010/main" val="3370394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8F23C-5E51-2C0E-855B-13D91BC02B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FAA82-6428-02B4-406F-4A24FA30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>
                <a:solidFill>
                  <a:schemeClr val="accent4"/>
                </a:solidFill>
              </a:rPr>
              <a:t>Le système communal fribourgeois</a:t>
            </a:r>
            <a:br>
              <a:rPr lang="fr-CH" dirty="0"/>
            </a:br>
            <a:r>
              <a:rPr lang="fr-CH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ＭＳ Ｐゴシック"/>
                <a:cs typeface="ＭＳ Ｐゴシック"/>
              </a:rPr>
              <a:t>—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9C3648F-F67B-119C-BCF2-DE4D54461A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284693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Vote le budget annuel, les investissements et les règlemen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Décide du taux d’impô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Surveille l’administration de la commu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Peut poser des questions et faire des propositions au Conseil communa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Se réunit plusieurs fois par a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dirty="0"/>
              <a:t>Le Conseil général est dirigé par un président ou une présidente qui change chaque anné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AA4F43B-4342-7D94-0F26-3D72A80E92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fr-CH" dirty="0"/>
              <a:t>Que fait le Conseil général / l’Assemblée communale ? </a:t>
            </a:r>
          </a:p>
        </p:txBody>
      </p:sp>
    </p:spTree>
    <p:extLst>
      <p:ext uri="{BB962C8B-B14F-4D97-AF65-F5344CB8AC3E}">
        <p14:creationId xmlns:p14="http://schemas.microsoft.com/office/powerpoint/2010/main" val="3788873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heme/theme1.xml><?xml version="1.0" encoding="utf-8"?>
<a:theme xmlns:a="http://schemas.openxmlformats.org/drawingml/2006/main" name="CMR_ppt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MR_ppt</Template>
  <TotalTime>1</TotalTime>
  <Words>1687</Words>
  <Application>Microsoft Office PowerPoint</Application>
  <PresentationFormat>Affichage à l'écran (4:3)</PresentationFormat>
  <Paragraphs>220</Paragraphs>
  <Slides>2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5" baseType="lpstr">
      <vt:lpstr>ＭＳ Ｐゴシック</vt:lpstr>
      <vt:lpstr>Arial</vt:lpstr>
      <vt:lpstr>Calibri</vt:lpstr>
      <vt:lpstr>Courier New</vt:lpstr>
      <vt:lpstr>Lucida Grande</vt:lpstr>
      <vt:lpstr>CMR_ppt</vt:lpstr>
      <vt:lpstr>think-cell Slide</vt:lpstr>
      <vt:lpstr>Participation aux élections communales —</vt:lpstr>
      <vt:lpstr>Table des matières —</vt:lpstr>
      <vt:lpstr>Le système politique suisse —</vt:lpstr>
      <vt:lpstr>Le système politique suisse  —</vt:lpstr>
      <vt:lpstr>Le système communal fribourgeois —</vt:lpstr>
      <vt:lpstr>Le système communal fribourgeois  —</vt:lpstr>
      <vt:lpstr>Le système communal fribourgeois —</vt:lpstr>
      <vt:lpstr>Le système communal fribourgeois —</vt:lpstr>
      <vt:lpstr>Le système communal fribourgeois —</vt:lpstr>
      <vt:lpstr>Pourquoi voter aux élections communales ? —</vt:lpstr>
      <vt:lpstr>Qui peut voter ? —</vt:lpstr>
      <vt:lpstr>Le matériel de vote   —</vt:lpstr>
      <vt:lpstr>Le matériel de vote   —</vt:lpstr>
      <vt:lpstr>Le matériel de vote   —</vt:lpstr>
      <vt:lpstr>Comment voter ? —</vt:lpstr>
      <vt:lpstr>Comment voter ? —</vt:lpstr>
      <vt:lpstr>Comment voter ? —</vt:lpstr>
      <vt:lpstr>Comment voter ? —</vt:lpstr>
      <vt:lpstr>Comment voter ? —</vt:lpstr>
      <vt:lpstr>Comment voter ? —</vt:lpstr>
      <vt:lpstr>Comment voter ? —</vt:lpstr>
      <vt:lpstr>Comment voter ? —</vt:lpstr>
      <vt:lpstr>Comment voter ? —</vt:lpstr>
      <vt:lpstr>Comment voter ? —</vt:lpstr>
      <vt:lpstr>Dates importantes —</vt:lpstr>
      <vt:lpstr>Autres outils à disposition  —</vt:lpstr>
      <vt:lpstr>Pour conclure —</vt:lpstr>
      <vt:lpstr>Note à l’intention des utilisateurs-trices 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Greco Giuseppina</dc:creator>
  <cp:lastModifiedBy>Jordan Samuel</cp:lastModifiedBy>
  <cp:revision>148</cp:revision>
  <cp:lastPrinted>2025-01-16T16:27:58Z</cp:lastPrinted>
  <dcterms:created xsi:type="dcterms:W3CDTF">2015-02-16T15:54:07Z</dcterms:created>
  <dcterms:modified xsi:type="dcterms:W3CDTF">2025-09-26T10:02:52Z</dcterms:modified>
</cp:coreProperties>
</file>